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5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3" r:id="rId1"/>
    <p:sldMasterId id="2147483978" r:id="rId2"/>
    <p:sldMasterId id="2147483983" r:id="rId3"/>
    <p:sldMasterId id="2147483992" r:id="rId4"/>
    <p:sldMasterId id="2147484000" r:id="rId5"/>
  </p:sldMasterIdLst>
  <p:notesMasterIdLst>
    <p:notesMasterId r:id="rId8"/>
  </p:notesMasterIdLst>
  <p:handoutMasterIdLst>
    <p:handoutMasterId r:id="rId9"/>
  </p:handoutMasterIdLst>
  <p:sldIdLst>
    <p:sldId id="469" r:id="rId6"/>
    <p:sldId id="551" r:id="rId7"/>
  </p:sldIdLst>
  <p:sldSz cx="9144000" cy="5143500" type="screen16x9"/>
  <p:notesSz cx="6883400" cy="9906000"/>
  <p:custDataLst>
    <p:tags r:id="rId1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3">
          <p15:clr>
            <a:srgbClr val="A4A3A4"/>
          </p15:clr>
        </p15:guide>
        <p15:guide id="2" orient="horz" pos="3040">
          <p15:clr>
            <a:srgbClr val="A4A3A4"/>
          </p15:clr>
        </p15:guide>
        <p15:guide id="3" orient="horz" pos="52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374">
          <p15:clr>
            <a:srgbClr val="A4A3A4"/>
          </p15:clr>
        </p15:guide>
        <p15:guide id="6" orient="horz" pos="999">
          <p15:clr>
            <a:srgbClr val="A4A3A4"/>
          </p15:clr>
        </p15:guide>
        <p15:guide id="7" orient="horz" pos="1362">
          <p15:clr>
            <a:srgbClr val="A4A3A4"/>
          </p15:clr>
        </p15:guide>
        <p15:guide id="8" orient="horz" pos="1417">
          <p15:clr>
            <a:srgbClr val="A4A3A4"/>
          </p15:clr>
        </p15:guide>
        <p15:guide id="9" orient="horz" pos="1782">
          <p15:clr>
            <a:srgbClr val="A4A3A4"/>
          </p15:clr>
        </p15:guide>
        <p15:guide id="10" orient="horz" pos="1838">
          <p15:clr>
            <a:srgbClr val="A4A3A4"/>
          </p15:clr>
        </p15:guide>
        <p15:guide id="11" orient="horz" pos="2199">
          <p15:clr>
            <a:srgbClr val="A4A3A4"/>
          </p15:clr>
        </p15:guide>
        <p15:guide id="12" orient="horz" pos="2256">
          <p15:clr>
            <a:srgbClr val="A4A3A4"/>
          </p15:clr>
        </p15:guide>
        <p15:guide id="13" orient="horz" pos="2621">
          <p15:clr>
            <a:srgbClr val="A4A3A4"/>
          </p15:clr>
        </p15:guide>
        <p15:guide id="14" orient="horz" pos="423">
          <p15:clr>
            <a:srgbClr val="A4A3A4"/>
          </p15:clr>
        </p15:guide>
        <p15:guide id="15" orient="horz" pos="467">
          <p15:clr>
            <a:srgbClr val="A4A3A4"/>
          </p15:clr>
        </p15:guide>
        <p15:guide id="16" orient="horz" pos="941">
          <p15:clr>
            <a:srgbClr val="A4A3A4"/>
          </p15:clr>
        </p15:guide>
        <p15:guide id="17" orient="horz" pos="2675">
          <p15:clr>
            <a:srgbClr val="A4A3A4"/>
          </p15:clr>
        </p15:guide>
        <p15:guide id="18" orient="horz" pos="2795">
          <p15:clr>
            <a:srgbClr val="A4A3A4"/>
          </p15:clr>
        </p15:guide>
        <p15:guide id="19" pos="22" userDrawn="1">
          <p15:clr>
            <a:srgbClr val="A4A3A4"/>
          </p15:clr>
        </p15:guide>
        <p15:guide id="20" pos="1157">
          <p15:clr>
            <a:srgbClr val="A4A3A4"/>
          </p15:clr>
        </p15:guide>
        <p15:guide id="21" pos="1213">
          <p15:clr>
            <a:srgbClr val="A4A3A4"/>
          </p15:clr>
        </p15:guide>
        <p15:guide id="22" pos="2007">
          <p15:clr>
            <a:srgbClr val="A4A3A4"/>
          </p15:clr>
        </p15:guide>
        <p15:guide id="23" pos="2061">
          <p15:clr>
            <a:srgbClr val="A4A3A4"/>
          </p15:clr>
        </p15:guide>
        <p15:guide id="24" pos="2858">
          <p15:clr>
            <a:srgbClr val="A4A3A4"/>
          </p15:clr>
        </p15:guide>
        <p15:guide id="25" pos="2912">
          <p15:clr>
            <a:srgbClr val="A4A3A4"/>
          </p15:clr>
        </p15:guide>
        <p15:guide id="26" pos="3706">
          <p15:clr>
            <a:srgbClr val="A4A3A4"/>
          </p15:clr>
        </p15:guide>
        <p15:guide id="27" pos="3761">
          <p15:clr>
            <a:srgbClr val="A4A3A4"/>
          </p15:clr>
        </p15:guide>
        <p15:guide id="28" pos="4611">
          <p15:clr>
            <a:srgbClr val="A4A3A4"/>
          </p15:clr>
        </p15:guide>
        <p15:guide id="29" pos="5405">
          <p15:clr>
            <a:srgbClr val="A4A3A4"/>
          </p15:clr>
        </p15:guide>
        <p15:guide id="30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 userDrawn="1">
          <p15:clr>
            <a:srgbClr val="A4A3A4"/>
          </p15:clr>
        </p15:guide>
        <p15:guide id="2" pos="216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FF00"/>
    <a:srgbClr val="00CEFF"/>
    <a:srgbClr val="00D318"/>
    <a:srgbClr val="F48D27"/>
    <a:srgbClr val="EA288C"/>
    <a:srgbClr val="A02BFF"/>
    <a:srgbClr val="FF6D00"/>
    <a:srgbClr val="4D4D4D"/>
    <a:srgbClr val="4D4E50"/>
    <a:srgbClr val="089E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88" autoAdjust="0"/>
    <p:restoredTop sz="94590" autoAdjust="0"/>
  </p:normalViewPr>
  <p:slideViewPr>
    <p:cSldViewPr snapToGrid="0" snapToObjects="1">
      <p:cViewPr varScale="1">
        <p:scale>
          <a:sx n="90" d="100"/>
          <a:sy n="90" d="100"/>
        </p:scale>
        <p:origin x="936" y="90"/>
      </p:cViewPr>
      <p:guideLst>
        <p:guide orient="horz" pos="203"/>
        <p:guide orient="horz" pos="3040"/>
        <p:guide orient="horz" pos="527"/>
        <p:guide orient="horz" pos="577"/>
        <p:guide orient="horz" pos="374"/>
        <p:guide orient="horz" pos="999"/>
        <p:guide orient="horz" pos="1362"/>
        <p:guide orient="horz" pos="1417"/>
        <p:guide orient="horz" pos="1782"/>
        <p:guide orient="horz" pos="1838"/>
        <p:guide orient="horz" pos="2199"/>
        <p:guide orient="horz" pos="2256"/>
        <p:guide orient="horz" pos="2621"/>
        <p:guide orient="horz" pos="423"/>
        <p:guide orient="horz" pos="467"/>
        <p:guide orient="horz" pos="941"/>
        <p:guide orient="horz" pos="2675"/>
        <p:guide orient="horz" pos="2795"/>
        <p:guide pos="22"/>
        <p:guide pos="1157"/>
        <p:guide pos="1213"/>
        <p:guide pos="2007"/>
        <p:guide pos="2061"/>
        <p:guide pos="2858"/>
        <p:guide pos="2912"/>
        <p:guide pos="3706"/>
        <p:guide pos="3761"/>
        <p:guide pos="4611"/>
        <p:guide pos="5405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-3834" y="-96"/>
      </p:cViewPr>
      <p:guideLst>
        <p:guide orient="horz" pos="3120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6D8B42B7-21BD-514C-9322-63B6A413DDF2}" type="datetime1">
              <a:rPr lang="en-US" smtClean="0"/>
              <a:t>8/4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1EAF82C-FEC8-C94A-A2BD-186C692ACEC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25131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D719933C-C5F1-1147-A588-0123CEDC937F}" type="datetime1">
              <a:rPr lang="en-US" smtClean="0"/>
              <a:t>8/4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28671B71-4A79-7E4C-8EA9-76B1FFE2032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26052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5355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6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8.xml"/><Relationship Id="rId7" Type="http://schemas.openxmlformats.org/officeDocument/2006/relationships/image" Target="../media/image2.emf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5.xml"/><Relationship Id="rId7" Type="http://schemas.openxmlformats.org/officeDocument/2006/relationships/image" Target="../media/image2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26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8.xml"/><Relationship Id="rId7" Type="http://schemas.openxmlformats.org/officeDocument/2006/relationships/image" Target="../media/image2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2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9540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719616" y="4924834"/>
            <a:ext cx="213009" cy="1166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058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3298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0438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635" y="1222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6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5" y="1222"/>
                        <a:ext cx="1619" cy="121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8"/>
          <p:cNvSpPr/>
          <p:nvPr userDrawn="1"/>
        </p:nvSpPr>
        <p:spPr>
          <a:xfrm>
            <a:off x="0" y="-1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46" tIns="46623" rIns="93246" bIns="46623" anchor="ctr"/>
          <a:lstStyle/>
          <a:p>
            <a:pPr algn="ctr" defTabSz="913915" fontAlgn="base">
              <a:spcBef>
                <a:spcPct val="0"/>
              </a:spcBef>
              <a:spcAft>
                <a:spcPct val="0"/>
              </a:spcAft>
              <a:defRPr/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6" name="Working Draft Text" hidden="1"/>
          <p:cNvSpPr txBox="1">
            <a:spLocks noChangeArrowheads="1"/>
          </p:cNvSpPr>
          <p:nvPr/>
        </p:nvSpPr>
        <p:spPr bwMode="auto">
          <a:xfrm>
            <a:off x="3707819" y="262408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7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/>
        </p:nvSpPr>
        <p:spPr bwMode="auto">
          <a:xfrm>
            <a:off x="3707815" y="381460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12/11/2015 15:11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/>
        </p:nvSpPr>
        <p:spPr bwMode="auto">
          <a:xfrm>
            <a:off x="3707821" y="501722"/>
            <a:ext cx="3013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14/01/2015 23:26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10" name="McK Title Elements"/>
          <p:cNvGrpSpPr>
            <a:grpSpLocks/>
          </p:cNvGrpSpPr>
          <p:nvPr/>
        </p:nvGrpSpPr>
        <p:grpSpPr bwMode="auto">
          <a:xfrm>
            <a:off x="6" y="5"/>
            <a:ext cx="9140760" cy="5144715"/>
            <a:chOff x="0" y="0"/>
            <a:chExt cx="5643" cy="4235"/>
          </a:xfrm>
        </p:grpSpPr>
        <p:sp>
          <p:nvSpPr>
            <p:cNvPr id="11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9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  <a:endParaRPr lang="pt-PT" sz="1400" dirty="0" smtClea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9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3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804863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804863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804863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804863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altLang="pt-BR" sz="800" smtClean="0">
                  <a:solidFill>
                    <a:srgbClr val="FFFFFF"/>
                  </a:solidFill>
                  <a:cs typeface="Arial" charset="0"/>
                </a:rPr>
                <a:t>CONFIDENTIAL AND PROPRIETARY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altLang="pt-BR" sz="800" smtClean="0">
                  <a:solidFill>
                    <a:srgbClr val="FFFFFF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4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139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pt-PT" altLang="pt-BR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139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pt-PT" altLang="pt-BR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139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pt-PT" altLang="pt-BR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7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74" y="4930914"/>
            <a:ext cx="1670055" cy="146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9" descr="PPT Aqua_Bases-02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379043" y="1400675"/>
            <a:ext cx="3204044" cy="23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04" y="1632710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04" y="2959274"/>
            <a:ext cx="5036084" cy="215444"/>
          </a:xfrm>
        </p:spPr>
        <p:txBody>
          <a:bodyPr/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718837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4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8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4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57047" y="1474175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11/2015 15:11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64444" y="3137856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latin typeface="Arial"/>
              </a:rPr>
              <a:t>Printed 14/01/2015 23:26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1495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altLang="pt-BR" sz="1400" smtClean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1503" y="406965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21489" y="4734113"/>
            <a:ext cx="8722840" cy="308561"/>
            <a:chOff x="75" y="3879"/>
            <a:chExt cx="5385" cy="25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501650" indent="-50165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altLang="pt-BR" sz="1000" smtClean="0">
                  <a:solidFill>
                    <a:srgbClr val="000000"/>
                  </a:solidFill>
                  <a:cs typeface="Arial" charset="0"/>
                </a:rPr>
                <a:t>FONTE: Font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82160" y="739819"/>
            <a:ext cx="4350892" cy="511435"/>
            <a:chOff x="915" y="609"/>
            <a:chExt cx="2686" cy="421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139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altLang="pt-BR" b="1" smtClean="0">
                  <a:solidFill>
                    <a:srgbClr val="00474C"/>
                  </a:solidFill>
                  <a:cs typeface="Arial" charset="0"/>
                </a:rPr>
                <a:t>Title</a:t>
              </a:r>
            </a:p>
            <a:p>
              <a:pPr defTabSz="9139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altLang="pt-BR" smtClean="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sp>
        <p:nvSpPr>
          <p:cNvPr id="15" name="SlideLogoSeparator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590016" y="4900547"/>
            <a:ext cx="42116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altLang="pt-BR" sz="1200" smtClean="0">
                <a:solidFill>
                  <a:srgbClr val="000000"/>
                </a:solidFill>
                <a:cs typeface="Arial" charset="0"/>
              </a:rPr>
              <a:t>|</a:t>
            </a: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873906" y="4906202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altLang="pt-BR" sz="1000" smtClean="0">
                <a:solidFill>
                  <a:srgbClr val="000000"/>
                </a:solidFill>
                <a:cs typeface="Arial" charset="0"/>
              </a:rPr>
              <a:t>MATERIAL CONFIDENCIAL</a:t>
            </a:r>
          </a:p>
        </p:txBody>
      </p:sp>
      <p:pic>
        <p:nvPicPr>
          <p:cNvPr id="17" name="Picture 9" descr="PPT Aqua_Bases-02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53" y="127555"/>
            <a:ext cx="479473" cy="351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8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719616" y="4924835"/>
            <a:ext cx="213819" cy="1166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915" fontAlgn="base">
              <a:spcBef>
                <a:spcPct val="0"/>
              </a:spcBef>
              <a:spcAft>
                <a:spcPct val="0"/>
              </a:spcAft>
              <a:defRPr/>
            </a:pPr>
            <a:fld id="{B5BACBAF-3580-4EC5-A9BA-4E973003074B}" type="slidenum">
              <a:rPr>
                <a:solidFill>
                  <a:srgbClr val="000000"/>
                </a:solidFill>
              </a:rPr>
              <a:pPr defTabSz="9139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63216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4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1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4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" hidden="1"/>
          <p:cNvSpPr txBox="1">
            <a:spLocks noChangeArrowheads="1"/>
          </p:cNvSpPr>
          <p:nvPr/>
        </p:nvSpPr>
        <p:spPr bwMode="auto">
          <a:xfrm rot="5400000">
            <a:off x="7957047" y="1474175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11/2015 15:11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/>
        </p:nvSpPr>
        <p:spPr bwMode="auto">
          <a:xfrm rot="5400000">
            <a:off x="8064444" y="3137856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latin typeface="Arial"/>
              </a:rPr>
              <a:t>Printed 14/01/2015 23:26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1495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altLang="pt-BR" sz="1400" smtClean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1503" y="406965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21489" y="4734113"/>
            <a:ext cx="8722840" cy="308561"/>
            <a:chOff x="75" y="3879"/>
            <a:chExt cx="5385" cy="254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501650" indent="-50165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altLang="pt-BR" sz="1000" smtClean="0">
                  <a:solidFill>
                    <a:srgbClr val="000000"/>
                  </a:solidFill>
                  <a:cs typeface="Arial" charset="0"/>
                </a:rPr>
                <a:t>FONTE: Fonte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482160" y="739819"/>
            <a:ext cx="4350892" cy="511435"/>
            <a:chOff x="915" y="609"/>
            <a:chExt cx="2686" cy="421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139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altLang="pt-BR" b="1" smtClean="0">
                  <a:solidFill>
                    <a:srgbClr val="00474C"/>
                  </a:solidFill>
                  <a:cs typeface="Arial" charset="0"/>
                </a:rPr>
                <a:t>Title</a:t>
              </a:r>
            </a:p>
            <a:p>
              <a:pPr defTabSz="9139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altLang="pt-BR" smtClean="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sp>
        <p:nvSpPr>
          <p:cNvPr id="14" name="SlideLogoSeparator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590016" y="4900547"/>
            <a:ext cx="42116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altLang="pt-BR" sz="1200" smtClean="0">
                <a:solidFill>
                  <a:srgbClr val="000000"/>
                </a:solidFill>
                <a:cs typeface="Arial" charset="0"/>
              </a:rPr>
              <a:t>|</a:t>
            </a:r>
          </a:p>
        </p:txBody>
      </p:sp>
      <p:sp>
        <p:nvSpPr>
          <p:cNvPr id="15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873906" y="4906202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altLang="pt-BR" sz="1000" smtClean="0">
                <a:solidFill>
                  <a:srgbClr val="000000"/>
                </a:solidFill>
                <a:cs typeface="Arial" charset="0"/>
              </a:rPr>
              <a:t>MATERIAL CONFIDENCIAL</a:t>
            </a:r>
          </a:p>
        </p:txBody>
      </p:sp>
      <p:pic>
        <p:nvPicPr>
          <p:cNvPr id="16" name="Picture 9" descr="PPT Aqua_Bases-02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53" y="127555"/>
            <a:ext cx="479473" cy="351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34821" y="104776"/>
            <a:ext cx="8392258" cy="292388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17" name="pg num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739598" y="4876242"/>
            <a:ext cx="837458" cy="267258"/>
          </a:xfrm>
          <a:prstGeom prst="rect">
            <a:avLst/>
          </a:prstGeom>
        </p:spPr>
        <p:txBody>
          <a:bodyPr lIns="93246" tIns="46623" rIns="93246" bIns="46623"/>
          <a:lstStyle>
            <a:lvl1pPr>
              <a:defRPr>
                <a:solidFill>
                  <a:srgbClr val="000000"/>
                </a:solidFill>
                <a:cs typeface="Arial" pitchFamily="34" charset="0"/>
              </a:defRPr>
            </a:lvl1pPr>
          </a:lstStyle>
          <a:p>
            <a:pPr defTabSz="913915" fontAlgn="base">
              <a:spcBef>
                <a:spcPct val="0"/>
              </a:spcBef>
              <a:spcAft>
                <a:spcPct val="0"/>
              </a:spcAft>
              <a:defRPr/>
            </a:pPr>
            <a:fld id="{56029D04-4424-4019-8AAB-A75976CCD5BC}" type="slidenum">
              <a:rPr lang="en-US" sz="1600"/>
              <a:pPr defTabSz="9139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3328640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0"/>
          </p:nvPr>
        </p:nvSpPr>
        <p:spPr>
          <a:xfrm>
            <a:off x="7740352" y="4876012"/>
            <a:ext cx="837456" cy="267494"/>
          </a:xfrm>
          <a:prstGeom prst="rect">
            <a:avLst/>
          </a:prstGeom>
        </p:spPr>
        <p:txBody>
          <a:bodyPr lIns="93246" tIns="46623" rIns="93246" bIns="46623"/>
          <a:lstStyle/>
          <a:p>
            <a:pPr defTabSz="913915" fontAlgn="base">
              <a:spcBef>
                <a:spcPct val="0"/>
              </a:spcBef>
              <a:spcAft>
                <a:spcPct val="0"/>
              </a:spcAft>
            </a:pPr>
            <a:fld id="{34F21757-CAEC-9B46-BA5E-8BB41E742229}" type="slidenum">
              <a:rPr lang="en-US" sz="1600" smtClean="0">
                <a:solidFill>
                  <a:srgbClr val="000000"/>
                </a:solidFill>
                <a:cs typeface="Arial" pitchFamily="34" charset="0"/>
              </a:rPr>
              <a:pPr defTabSz="913915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3154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922339" y="2212975"/>
            <a:ext cx="188378" cy="3403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46" tIns="46623" rIns="93246" bIns="4662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3915"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sz="1600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00077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482160" y="1493000"/>
            <a:ext cx="4389768" cy="1231106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6795" y="4766918"/>
            <a:ext cx="2133330" cy="274547"/>
          </a:xfrm>
          <a:prstGeom prst="rect">
            <a:avLst/>
          </a:prstGeom>
        </p:spPr>
        <p:txBody>
          <a:bodyPr lIns="93246" tIns="46623" rIns="93246" bIns="46623"/>
          <a:lstStyle>
            <a:lvl1pPr defTabSz="932467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DBAB9E4F-2E52-43A3-94B3-44A7ACCFB716}" type="datetimeFigureOut">
              <a:rPr lang="pt-BR" sz="1600">
                <a:solidFill>
                  <a:srgbClr val="000000"/>
                </a:solidFill>
                <a:cs typeface="Arial" pitchFamily="34" charset="0"/>
              </a:rPr>
              <a:pPr>
                <a:defRPr/>
              </a:pPr>
              <a:t>04/08/2017</a:t>
            </a:fld>
            <a:endParaRPr lang="pt-BR" sz="1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673" y="4766918"/>
            <a:ext cx="2894654" cy="274547"/>
          </a:xfrm>
          <a:prstGeom prst="rect">
            <a:avLst/>
          </a:prstGeom>
        </p:spPr>
        <p:txBody>
          <a:bodyPr lIns="93246" tIns="46623" rIns="93246" bIns="46623"/>
          <a:lstStyle>
            <a:lvl1pPr defTabSz="932467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pt-BR" sz="1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875" y="4766918"/>
            <a:ext cx="2133330" cy="274547"/>
          </a:xfrm>
          <a:prstGeom prst="rect">
            <a:avLst/>
          </a:prstGeom>
        </p:spPr>
        <p:txBody>
          <a:bodyPr lIns="93246" tIns="46623" rIns="93246" bIns="46623"/>
          <a:lstStyle>
            <a:lvl1pPr defTabSz="932467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707ACE4A-8C61-45F4-9529-C3276468D532}" type="slidenum">
              <a:rPr lang="pt-BR" sz="1600">
                <a:solidFill>
                  <a:srgbClr val="000000"/>
                </a:solidFill>
                <a:cs typeface="Arial" pitchFamily="34" charset="0"/>
              </a:rPr>
              <a:pPr>
                <a:defRPr/>
              </a:pPr>
              <a:t>‹nº›</a:t>
            </a:fld>
            <a:endParaRPr lang="pt-BR" sz="160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28813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627" y="1220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6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7" y="1220"/>
                        <a:ext cx="1619" cy="121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8"/>
          <p:cNvSpPr/>
          <p:nvPr userDrawn="1"/>
        </p:nvSpPr>
        <p:spPr>
          <a:xfrm>
            <a:off x="0" y="-1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46" tIns="46623" rIns="93246" bIns="46623" anchor="ctr"/>
          <a:lstStyle/>
          <a:p>
            <a:pPr algn="ctr" defTabSz="913915" fontAlgn="base">
              <a:spcBef>
                <a:spcPct val="0"/>
              </a:spcBef>
              <a:spcAft>
                <a:spcPct val="0"/>
              </a:spcAft>
              <a:defRPr/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6" name="Working Draft Text" hidden="1"/>
          <p:cNvSpPr txBox="1">
            <a:spLocks noChangeArrowheads="1"/>
          </p:cNvSpPr>
          <p:nvPr/>
        </p:nvSpPr>
        <p:spPr bwMode="auto">
          <a:xfrm>
            <a:off x="3707819" y="262403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7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/>
        </p:nvSpPr>
        <p:spPr bwMode="auto">
          <a:xfrm>
            <a:off x="3707815" y="381454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12/11/2015 15:11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/>
        </p:nvSpPr>
        <p:spPr bwMode="auto">
          <a:xfrm>
            <a:off x="3707821" y="501717"/>
            <a:ext cx="3013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14/01/2015 23:26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10" name="McK Title Elements"/>
          <p:cNvGrpSpPr>
            <a:grpSpLocks/>
          </p:cNvGrpSpPr>
          <p:nvPr/>
        </p:nvGrpSpPr>
        <p:grpSpPr bwMode="auto">
          <a:xfrm>
            <a:off x="6" y="5"/>
            <a:ext cx="9140760" cy="5144715"/>
            <a:chOff x="0" y="0"/>
            <a:chExt cx="5643" cy="4235"/>
          </a:xfrm>
        </p:grpSpPr>
        <p:sp>
          <p:nvSpPr>
            <p:cNvPr id="11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9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  <a:endParaRPr lang="pt-PT" sz="1400" dirty="0" smtClea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9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3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804863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804863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804863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804863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altLang="pt-BR" sz="800" smtClean="0">
                  <a:solidFill>
                    <a:srgbClr val="FFFFFF"/>
                  </a:solidFill>
                  <a:cs typeface="Arial" charset="0"/>
                </a:rPr>
                <a:t>CONFIDENTIAL AND PROPRIETARY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altLang="pt-BR" sz="800" smtClean="0">
                  <a:solidFill>
                    <a:srgbClr val="FFFFFF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4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139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pt-PT" altLang="pt-BR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139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pt-PT" altLang="pt-BR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139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pt-PT" altLang="pt-BR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7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6" y="4930914"/>
            <a:ext cx="1670055" cy="146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9" descr="PPT Aqua_Bases-02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379043" y="1400675"/>
            <a:ext cx="3204044" cy="23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04" y="1632704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04" y="2959274"/>
            <a:ext cx="5036084" cy="215444"/>
          </a:xfrm>
        </p:spPr>
        <p:txBody>
          <a:bodyPr/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09060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35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8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57043" y="1474171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11/2015 15:11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64444" y="3137852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latin typeface="Arial"/>
              </a:rPr>
              <a:t>Printed 14/01/2015 23:26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1495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altLang="pt-BR" sz="1400" smtClean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1495" y="406961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21489" y="4734105"/>
            <a:ext cx="8722840" cy="308561"/>
            <a:chOff x="75" y="3879"/>
            <a:chExt cx="5385" cy="25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501650" indent="-50165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altLang="pt-BR" sz="1000" smtClean="0">
                  <a:solidFill>
                    <a:srgbClr val="000000"/>
                  </a:solidFill>
                  <a:cs typeface="Arial" charset="0"/>
                </a:rPr>
                <a:t>FONTE: Font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82160" y="739819"/>
            <a:ext cx="4350892" cy="511435"/>
            <a:chOff x="915" y="609"/>
            <a:chExt cx="2686" cy="421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139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altLang="pt-BR" b="1" smtClean="0">
                  <a:solidFill>
                    <a:srgbClr val="00474C"/>
                  </a:solidFill>
                  <a:cs typeface="Arial" charset="0"/>
                </a:rPr>
                <a:t>Title</a:t>
              </a:r>
            </a:p>
            <a:p>
              <a:pPr defTabSz="9139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altLang="pt-BR" smtClean="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sp>
        <p:nvSpPr>
          <p:cNvPr id="15" name="SlideLogoSeparator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590016" y="4900543"/>
            <a:ext cx="42116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altLang="pt-BR" sz="1200" smtClean="0">
                <a:solidFill>
                  <a:srgbClr val="000000"/>
                </a:solidFill>
                <a:cs typeface="Arial" charset="0"/>
              </a:rPr>
              <a:t>|</a:t>
            </a: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873898" y="4906202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altLang="pt-BR" sz="1000" smtClean="0">
                <a:solidFill>
                  <a:srgbClr val="000000"/>
                </a:solidFill>
                <a:cs typeface="Arial" charset="0"/>
              </a:rPr>
              <a:t>MATERIAL CONFIDENCIAL</a:t>
            </a:r>
          </a:p>
        </p:txBody>
      </p:sp>
      <p:pic>
        <p:nvPicPr>
          <p:cNvPr id="17" name="Picture 9" descr="PPT Aqua_Bases-02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45" y="127555"/>
            <a:ext cx="479473" cy="351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8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719608" y="4924835"/>
            <a:ext cx="213819" cy="1166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915" fontAlgn="base">
              <a:spcBef>
                <a:spcPct val="0"/>
              </a:spcBef>
              <a:spcAft>
                <a:spcPct val="0"/>
              </a:spcAft>
              <a:defRPr/>
            </a:pPr>
            <a:fld id="{B5BACBAF-3580-4EC5-A9BA-4E973003074B}" type="slidenum">
              <a:rPr>
                <a:solidFill>
                  <a:srgbClr val="000000"/>
                </a:solidFill>
              </a:rPr>
              <a:pPr defTabSz="9139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6207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0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" hidden="1"/>
          <p:cNvSpPr txBox="1">
            <a:spLocks noChangeArrowheads="1"/>
          </p:cNvSpPr>
          <p:nvPr/>
        </p:nvSpPr>
        <p:spPr bwMode="auto">
          <a:xfrm rot="5400000">
            <a:off x="7957043" y="1474171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11/2015 15:11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/>
        </p:nvSpPr>
        <p:spPr bwMode="auto">
          <a:xfrm rot="5400000">
            <a:off x="8064444" y="3137852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latin typeface="Arial"/>
              </a:rPr>
              <a:t>Printed 14/01/2015 23:26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1495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altLang="pt-BR" sz="1400" smtClean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1495" y="406961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21489" y="4734105"/>
            <a:ext cx="8722840" cy="308561"/>
            <a:chOff x="75" y="3879"/>
            <a:chExt cx="5385" cy="254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501650" indent="-50165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altLang="pt-BR" sz="1000" smtClean="0">
                  <a:solidFill>
                    <a:srgbClr val="000000"/>
                  </a:solidFill>
                  <a:cs typeface="Arial" charset="0"/>
                </a:rPr>
                <a:t>FONTE: Fonte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482160" y="739819"/>
            <a:ext cx="4350892" cy="511435"/>
            <a:chOff x="915" y="609"/>
            <a:chExt cx="2686" cy="421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139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altLang="pt-BR" b="1" smtClean="0">
                  <a:solidFill>
                    <a:srgbClr val="00474C"/>
                  </a:solidFill>
                  <a:cs typeface="Arial" charset="0"/>
                </a:rPr>
                <a:t>Title</a:t>
              </a:r>
            </a:p>
            <a:p>
              <a:pPr defTabSz="9139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altLang="pt-BR" smtClean="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sp>
        <p:nvSpPr>
          <p:cNvPr id="14" name="SlideLogoSeparator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590016" y="4900543"/>
            <a:ext cx="42116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altLang="pt-BR" sz="1200" smtClean="0">
                <a:solidFill>
                  <a:srgbClr val="000000"/>
                </a:solidFill>
                <a:cs typeface="Arial" charset="0"/>
              </a:rPr>
              <a:t>|</a:t>
            </a:r>
          </a:p>
        </p:txBody>
      </p:sp>
      <p:sp>
        <p:nvSpPr>
          <p:cNvPr id="15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873898" y="4906202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altLang="pt-BR" sz="1000" smtClean="0">
                <a:solidFill>
                  <a:srgbClr val="000000"/>
                </a:solidFill>
                <a:cs typeface="Arial" charset="0"/>
              </a:rPr>
              <a:t>MATERIAL CONFIDENCIAL</a:t>
            </a:r>
          </a:p>
        </p:txBody>
      </p:sp>
      <p:pic>
        <p:nvPicPr>
          <p:cNvPr id="16" name="Picture 9" descr="PPT Aqua_Bases-02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45" y="127555"/>
            <a:ext cx="479473" cy="351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34821" y="104776"/>
            <a:ext cx="8392258" cy="292388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17" name="pg num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739598" y="4876242"/>
            <a:ext cx="837458" cy="267258"/>
          </a:xfrm>
          <a:prstGeom prst="rect">
            <a:avLst/>
          </a:prstGeom>
        </p:spPr>
        <p:txBody>
          <a:bodyPr lIns="93246" tIns="46623" rIns="93246" bIns="46623"/>
          <a:lstStyle>
            <a:lvl1pPr>
              <a:defRPr>
                <a:solidFill>
                  <a:srgbClr val="000000"/>
                </a:solidFill>
                <a:cs typeface="Arial" pitchFamily="34" charset="0"/>
              </a:defRPr>
            </a:lvl1pPr>
          </a:lstStyle>
          <a:p>
            <a:pPr defTabSz="913915" fontAlgn="base">
              <a:spcBef>
                <a:spcPct val="0"/>
              </a:spcBef>
              <a:spcAft>
                <a:spcPct val="0"/>
              </a:spcAft>
              <a:defRPr/>
            </a:pPr>
            <a:fld id="{56029D04-4424-4019-8AAB-A75976CCD5BC}" type="slidenum">
              <a:rPr lang="en-US" sz="1600"/>
              <a:pPr defTabSz="9139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8490318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0"/>
          </p:nvPr>
        </p:nvSpPr>
        <p:spPr>
          <a:xfrm>
            <a:off x="7740352" y="4876011"/>
            <a:ext cx="837456" cy="267494"/>
          </a:xfrm>
          <a:prstGeom prst="rect">
            <a:avLst/>
          </a:prstGeom>
        </p:spPr>
        <p:txBody>
          <a:bodyPr lIns="93246" tIns="46623" rIns="93246" bIns="46623"/>
          <a:lstStyle/>
          <a:p>
            <a:pPr defTabSz="913915" fontAlgn="base">
              <a:spcBef>
                <a:spcPct val="0"/>
              </a:spcBef>
              <a:spcAft>
                <a:spcPct val="0"/>
              </a:spcAft>
            </a:pPr>
            <a:fld id="{34F21757-CAEC-9B46-BA5E-8BB41E742229}" type="slidenum">
              <a:rPr lang="en-US" sz="1600" smtClean="0">
                <a:solidFill>
                  <a:srgbClr val="000000"/>
                </a:solidFill>
                <a:cs typeface="Arial" pitchFamily="34" charset="0"/>
              </a:rPr>
              <a:pPr defTabSz="913915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6660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922339" y="2212975"/>
            <a:ext cx="188378" cy="3403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46" tIns="46623" rIns="93246" bIns="46623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3915"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sz="1600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4290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482160" y="1493000"/>
            <a:ext cx="4389768" cy="1231106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6795" y="4766914"/>
            <a:ext cx="2133330" cy="274547"/>
          </a:xfrm>
          <a:prstGeom prst="rect">
            <a:avLst/>
          </a:prstGeom>
        </p:spPr>
        <p:txBody>
          <a:bodyPr lIns="93246" tIns="46623" rIns="93246" bIns="46623"/>
          <a:lstStyle>
            <a:lvl1pPr defTabSz="932467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DBAB9E4F-2E52-43A3-94B3-44A7ACCFB716}" type="datetimeFigureOut">
              <a:rPr lang="pt-BR" sz="1600">
                <a:solidFill>
                  <a:srgbClr val="000000"/>
                </a:solidFill>
                <a:cs typeface="Arial" pitchFamily="34" charset="0"/>
              </a:rPr>
              <a:pPr>
                <a:defRPr/>
              </a:pPr>
              <a:t>04/08/2017</a:t>
            </a:fld>
            <a:endParaRPr lang="pt-BR" sz="1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673" y="4766914"/>
            <a:ext cx="2894654" cy="274547"/>
          </a:xfrm>
          <a:prstGeom prst="rect">
            <a:avLst/>
          </a:prstGeom>
        </p:spPr>
        <p:txBody>
          <a:bodyPr lIns="93246" tIns="46623" rIns="93246" bIns="46623"/>
          <a:lstStyle>
            <a:lvl1pPr defTabSz="932467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pt-BR" sz="1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875" y="4766914"/>
            <a:ext cx="2133330" cy="274547"/>
          </a:xfrm>
          <a:prstGeom prst="rect">
            <a:avLst/>
          </a:prstGeom>
        </p:spPr>
        <p:txBody>
          <a:bodyPr lIns="93246" tIns="46623" rIns="93246" bIns="46623"/>
          <a:lstStyle>
            <a:lvl1pPr defTabSz="932467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707ACE4A-8C61-45F4-9529-C3276468D532}" type="slidenum">
              <a:rPr lang="pt-BR" sz="1600">
                <a:solidFill>
                  <a:srgbClr val="000000"/>
                </a:solidFill>
                <a:cs typeface="Arial" pitchFamily="34" charset="0"/>
              </a:rPr>
              <a:pPr>
                <a:defRPr/>
              </a:pPr>
              <a:t>‹nº›</a:t>
            </a:fld>
            <a:endParaRPr lang="pt-BR" sz="160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35379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7821"/>
            <a:ext cx="7772400" cy="292388"/>
          </a:xfrm>
        </p:spPr>
        <p:txBody>
          <a:bodyPr/>
          <a:lstStyle/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1" y="2914652"/>
            <a:ext cx="6400800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lIns="91411" tIns="45706" rIns="91411" bIns="45706"/>
          <a:lstStyle/>
          <a:p>
            <a:pPr defTabSz="913915"/>
            <a:fld id="{6E472D87-3519-4E30-AE22-5D1175BFEEFC}" type="datetimeFigureOut">
              <a:rPr lang="pt-BR" smtClean="0">
                <a:solidFill>
                  <a:srgbClr val="000000"/>
                </a:solidFill>
              </a:rPr>
              <a:pPr defTabSz="913915"/>
              <a:t>04/08/2017</a:t>
            </a:fld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1" y="4767263"/>
            <a:ext cx="2895600" cy="273844"/>
          </a:xfrm>
          <a:prstGeom prst="rect">
            <a:avLst/>
          </a:prstGeom>
        </p:spPr>
        <p:txBody>
          <a:bodyPr lIns="91411" tIns="45706" rIns="91411" bIns="45706"/>
          <a:lstStyle/>
          <a:p>
            <a:pPr defTabSz="913915"/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lIns="91411" tIns="45706" rIns="91411" bIns="45706"/>
          <a:lstStyle/>
          <a:p>
            <a:pPr defTabSz="913915"/>
            <a:fld id="{5C15FFA8-31F2-49F2-A4F7-009BDB4CF7E8}" type="slidenum">
              <a:rPr lang="pt-BR" smtClean="0">
                <a:solidFill>
                  <a:srgbClr val="000000"/>
                </a:solidFill>
              </a:rPr>
              <a:pPr defTabSz="913915"/>
              <a:t>‹nº›</a:t>
            </a:fld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8002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6127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echamen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22422" y="2212475"/>
            <a:ext cx="184694" cy="369316"/>
          </a:xfrm>
          <a:prstGeom prst="rect">
            <a:avLst/>
          </a:prstGeom>
          <a:noFill/>
        </p:spPr>
        <p:txBody>
          <a:bodyPr wrap="none" lIns="91422" tIns="45712" rIns="91422" bIns="45712" rtlCol="0">
            <a:spAutoFit/>
          </a:bodyPr>
          <a:lstStyle/>
          <a:p>
            <a:pPr defTabSz="457109"/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643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7823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B8DDAB74-211A-435F-A620-CEA7292BE3F8}" type="datetimeFigureOut">
              <a:rPr lang="pt-BR" smtClean="0"/>
              <a:t>04/08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6DCF64D1-12D7-4969-ADF6-A6C86AF9196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6920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6609625"/>
              </p:ext>
            </p:extLst>
          </p:nvPr>
        </p:nvGraphicFramePr>
        <p:xfrm>
          <a:off x="2278" y="128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78" y="1288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2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270" tIns="45138" rIns="90270" bIns="45138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6" y="262998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5" y="382047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12/06/2015 13:09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2318"/>
            <a:ext cx="242374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15-04-2015 17:43 Bahi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3" y="494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90" y="493091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35" y="1633211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35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379043" y="1400678"/>
            <a:ext cx="3204044" cy="23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4844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719790" y="4924834"/>
            <a:ext cx="213009" cy="1166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837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4653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699875"/>
              </p:ext>
            </p:extLst>
          </p:nvPr>
        </p:nvGraphicFramePr>
        <p:xfrm>
          <a:off x="1635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5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4" y="26241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4" y="381461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28/08/2015 12:00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1728"/>
            <a:ext cx="3013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28/08/2015 03:04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7" y="8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  <a:endParaRPr lang="pt-PT" sz="1400" dirty="0" smtClea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74" y="4930910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04" y="1632713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04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250679" y="381450"/>
            <a:ext cx="3665991" cy="2679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5820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2.xml"/><Relationship Id="rId11" Type="http://schemas.openxmlformats.org/officeDocument/2006/relationships/image" Target="../media/image3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2.emf"/><Relationship Id="rId4" Type="http://schemas.openxmlformats.org/officeDocument/2006/relationships/theme" Target="../theme/theme2.xml"/><Relationship Id="rId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11.xml"/><Relationship Id="rId7" Type="http://schemas.openxmlformats.org/officeDocument/2006/relationships/tags" Target="../tags/tag6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2.emf"/><Relationship Id="rId5" Type="http://schemas.openxmlformats.org/officeDocument/2006/relationships/theme" Target="../theme/theme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4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12.xml"/><Relationship Id="rId5" Type="http://schemas.openxmlformats.org/officeDocument/2006/relationships/slideLayout" Target="../slideLayouts/slideLayout17.xml"/><Relationship Id="rId10" Type="http://schemas.openxmlformats.org/officeDocument/2006/relationships/tags" Target="../tags/tag11.xml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10.xml"/><Relationship Id="rId14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ags" Target="../tags/tag22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ags" Target="../tags/tag21.xml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3.png"/><Relationship Id="rId10" Type="http://schemas.openxmlformats.org/officeDocument/2006/relationships/tags" Target="../tags/tag20.xml"/><Relationship Id="rId4" Type="http://schemas.openxmlformats.org/officeDocument/2006/relationships/slideLayout" Target="../slideLayouts/slideLayout22.xml"/><Relationship Id="rId9" Type="http://schemas.openxmlformats.org/officeDocument/2006/relationships/vmlDrawing" Target="../drawings/vmlDrawing9.v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3089236" y="16500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0"/>
              </a:spcBef>
            </a:pPr>
            <a:r>
              <a:rPr lang="en-US" sz="1400" i="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</a:t>
            </a:r>
            <a:r>
              <a:rPr lang="en-US" sz="14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4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4" name="Rectangle 35"/>
          <p:cNvSpPr/>
          <p:nvPr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0016846" y="1085547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/>
        </p:nvSpPr>
        <p:spPr>
          <a:xfrm>
            <a:off x="10016846" y="538726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60  G 43  B 255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/>
        </p:nvSpPr>
        <p:spPr>
          <a:xfrm>
            <a:off x="10016846" y="1596927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/>
        </p:nvSpPr>
        <p:spPr>
          <a:xfrm>
            <a:off x="10016846" y="215155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/>
        </p:nvSpPr>
        <p:spPr>
          <a:xfrm>
            <a:off x="10016846" y="270871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/>
        </p:nvSpPr>
        <p:spPr>
          <a:xfrm>
            <a:off x="10016846" y="3284405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314424" y="30532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9314424" y="25043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9314424" y="195555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9314424" y="140673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9314424" y="85790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9314424" y="30908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7" name="Rectangle 39"/>
          <p:cNvSpPr/>
          <p:nvPr/>
        </p:nvSpPr>
        <p:spPr>
          <a:xfrm>
            <a:off x="10016846" y="384308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77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9314424" y="361187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4" name="TextBox 39"/>
          <p:cNvSpPr txBox="1"/>
          <p:nvPr/>
        </p:nvSpPr>
        <p:spPr>
          <a:xfrm>
            <a:off x="9314432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</a:t>
            </a:r>
            <a:r>
              <a:rPr lang="en-US" sz="1600" i="0" baseline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</a:t>
            </a:r>
            <a:r>
              <a:rPr lang="en-US" sz="1600" i="0" baseline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i="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i="0" baseline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 Regular" pitchFamily="2" charset="0"/>
              <a:cs typeface="Simplon Oi Headline"/>
            </a:endParaRP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5543555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750887" y="610504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501775" y="6105043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2418557" y="5543555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2418556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3169444" y="610504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3920332" y="6105043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4814095" y="5543553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4814094" y="6105043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5564982" y="610504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6315871" y="610504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730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75" r:id="rId2"/>
    <p:sldLayoutId id="2147483938" r:id="rId3"/>
    <p:sldLayoutId id="2147483988" r:id="rId4"/>
    <p:sldLayoutId id="2147483989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2221278"/>
              </p:ext>
            </p:extLst>
          </p:nvPr>
        </p:nvGraphicFramePr>
        <p:xfrm>
          <a:off x="1" y="19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" y="19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96" y="1474236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06/2015 13:09 E. South Americ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60703" y="3137779"/>
            <a:ext cx="162544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15-04-2015 17:43 Bahi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53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7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err="1" smtClean="0">
                <a:solidFill>
                  <a:srgbClr val="808080"/>
                </a:solidFill>
              </a:rPr>
              <a:t>TRACKER</a:t>
            </a:r>
            <a:endParaRPr lang="pt-PT" sz="140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134" y="407068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29557"/>
            <a:ext cx="8722840" cy="308561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495233" indent="-495233" defTabSz="883885" fontAlgn="base">
                <a:spcBef>
                  <a:spcPct val="0"/>
                </a:spcBef>
                <a:spcAft>
                  <a:spcPct val="0"/>
                </a:spcAft>
                <a:tabLst>
                  <a:tab pos="266419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740307"/>
            <a:ext cx="4350892" cy="511433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4901194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874508" y="4906207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40" y="128666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719790" y="4924834"/>
            <a:ext cx="213009" cy="1166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6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3885" rtl="0" eaLnBrk="1" fontAlgn="base" hangingPunct="1">
        <a:spcBef>
          <a:spcPct val="0"/>
        </a:spcBef>
        <a:spcAft>
          <a:spcPct val="0"/>
        </a:spcAft>
        <a:tabLst>
          <a:tab pos="26641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1340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2687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54039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05381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1199" indent="-18963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1340" indent="-258584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06501" indent="-15358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34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268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4039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5381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672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807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9418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076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82866198"/>
              </p:ext>
            </p:extLst>
          </p:nvPr>
        </p:nvGraphicFramePr>
        <p:xfrm>
          <a:off x="0" y="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40" y="1474171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28/08/2015 12:00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4438" y="3137660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28/08/2015 03:04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4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2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dirty="0" err="1" smtClean="0">
                <a:solidFill>
                  <a:srgbClr val="808080"/>
                </a:solidFill>
              </a:rPr>
              <a:t>TRACKER</a:t>
            </a:r>
            <a:endParaRPr lang="pt-PT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2" y="406965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34086"/>
            <a:ext cx="8722840" cy="308561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501650" indent="-501650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  <a:endParaRPr lang="pt-PT" sz="1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1" y="739824"/>
            <a:ext cx="4350892" cy="511433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90626" y="4900549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 dirty="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873907" y="4906200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 dirty="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39" y="128171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719616" y="4924834"/>
            <a:ext cx="213009" cy="1166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52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0" y="4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40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4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47" y="1474175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11/2015 15:11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4444" y="3137856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latin typeface="Arial"/>
              </a:rPr>
              <a:t>Printed 14/01/2015 23:26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29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4"/>
            <a:ext cx="438976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altLang="pt-BR" smtClean="0"/>
              <a:t>Text</a:t>
            </a:r>
          </a:p>
        </p:txBody>
      </p:sp>
      <p:sp>
        <p:nvSpPr>
          <p:cNvPr id="1030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52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altLang="pt-BR" smtClean="0"/>
              <a:t>Click to edit Master title style</a:t>
            </a:r>
          </a:p>
        </p:txBody>
      </p:sp>
      <p:sp>
        <p:nvSpPr>
          <p:cNvPr id="1031" name="McK 1. On-page tracker" hidden="1"/>
          <p:cNvSpPr>
            <a:spLocks noChangeArrowheads="1"/>
          </p:cNvSpPr>
          <p:nvPr/>
        </p:nvSpPr>
        <p:spPr bwMode="auto">
          <a:xfrm>
            <a:off x="121495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altLang="pt-BR" sz="1400" smtClean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3" y="406965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033" name="McK Slide Elements" hidden="1"/>
          <p:cNvGrpSpPr>
            <a:grpSpLocks/>
          </p:cNvGrpSpPr>
          <p:nvPr/>
        </p:nvGrpSpPr>
        <p:grpSpPr bwMode="auto">
          <a:xfrm>
            <a:off x="121489" y="4734113"/>
            <a:ext cx="8722840" cy="308561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41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501650" indent="-50165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altLang="pt-BR" sz="1000" smtClean="0">
                  <a:solidFill>
                    <a:srgbClr val="000000"/>
                  </a:solidFill>
                  <a:cs typeface="Arial" charset="0"/>
                </a:rPr>
                <a:t>FONTE: Fonte</a:t>
              </a:r>
            </a:p>
          </p:txBody>
        </p:sp>
      </p:grpSp>
      <p:grpSp>
        <p:nvGrpSpPr>
          <p:cNvPr id="2" name="ACET" hidden="1"/>
          <p:cNvGrpSpPr>
            <a:grpSpLocks/>
          </p:cNvGrpSpPr>
          <p:nvPr/>
        </p:nvGrpSpPr>
        <p:grpSpPr bwMode="auto">
          <a:xfrm>
            <a:off x="1482160" y="739819"/>
            <a:ext cx="4350892" cy="511435"/>
            <a:chOff x="915" y="609"/>
            <a:chExt cx="2686" cy="421"/>
          </a:xfrm>
        </p:grpSpPr>
        <p:cxnSp>
          <p:nvCxnSpPr>
            <p:cNvPr id="1038" name="AutoShape 249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139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altLang="pt-BR" b="1" smtClean="0">
                  <a:solidFill>
                    <a:srgbClr val="00474C"/>
                  </a:solidFill>
                  <a:cs typeface="Arial" charset="0"/>
                </a:rPr>
                <a:t>Title</a:t>
              </a:r>
            </a:p>
            <a:p>
              <a:pPr defTabSz="9139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altLang="pt-BR" smtClean="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sp>
        <p:nvSpPr>
          <p:cNvPr id="3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590016" y="4900547"/>
            <a:ext cx="42116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altLang="pt-BR" sz="1200" smtClean="0">
                <a:solidFill>
                  <a:srgbClr val="000000"/>
                </a:solidFill>
                <a:cs typeface="Arial" charset="0"/>
              </a:rPr>
              <a:t>|</a:t>
            </a:r>
          </a:p>
        </p:txBody>
      </p:sp>
      <p:sp>
        <p:nvSpPr>
          <p:cNvPr id="1036" name="SlideLogoText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873906" y="4906202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altLang="pt-BR" sz="1000" smtClean="0">
                <a:solidFill>
                  <a:srgbClr val="000000"/>
                </a:solidFill>
                <a:cs typeface="Arial" charset="0"/>
              </a:rPr>
              <a:t>MATERIAL CONFIDENCIAL</a:t>
            </a:r>
          </a:p>
        </p:txBody>
      </p:sp>
      <p:pic>
        <p:nvPicPr>
          <p:cNvPr id="1037" name="Picture 9" descr="PPT Aqua_Bases-02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53" y="127555"/>
            <a:ext cx="479473" cy="351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503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041" rtl="0" eaLnBrk="0" fontAlgn="base" hangingPunct="0">
        <a:spcBef>
          <a:spcPct val="0"/>
        </a:spcBef>
        <a:spcAft>
          <a:spcPct val="0"/>
        </a:spcAft>
        <a:tabLst>
          <a:tab pos="27520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041" rtl="0" eaLnBrk="0" fontAlgn="base" hangingPunct="0">
        <a:spcBef>
          <a:spcPct val="0"/>
        </a:spcBef>
        <a:spcAft>
          <a:spcPct val="0"/>
        </a:spcAft>
        <a:tabLst>
          <a:tab pos="275208" algn="l"/>
        </a:tabLst>
        <a:defRPr sz="1900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913041" rtl="0" eaLnBrk="0" fontAlgn="base" hangingPunct="0">
        <a:spcBef>
          <a:spcPct val="0"/>
        </a:spcBef>
        <a:spcAft>
          <a:spcPct val="0"/>
        </a:spcAft>
        <a:tabLst>
          <a:tab pos="275208" algn="l"/>
        </a:tabLst>
        <a:defRPr sz="1900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913041" rtl="0" eaLnBrk="0" fontAlgn="base" hangingPunct="0">
        <a:spcBef>
          <a:spcPct val="0"/>
        </a:spcBef>
        <a:spcAft>
          <a:spcPct val="0"/>
        </a:spcAft>
        <a:tabLst>
          <a:tab pos="275208" algn="l"/>
        </a:tabLst>
        <a:defRPr sz="1900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913041" rtl="0" eaLnBrk="0" fontAlgn="base" hangingPunct="0">
        <a:spcBef>
          <a:spcPct val="0"/>
        </a:spcBef>
        <a:spcAft>
          <a:spcPct val="0"/>
        </a:spcAft>
        <a:tabLst>
          <a:tab pos="275208" algn="l"/>
        </a:tabLst>
        <a:defRPr sz="1900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66231" algn="l" defTabSz="91304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467" algn="l" defTabSz="91304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703" algn="l" defTabSz="91304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4936" algn="l" defTabSz="91304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913041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03" indent="-195884" algn="l" defTabSz="91304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ea typeface="ＭＳ Ｐゴシック" pitchFamily="34" charset="-128"/>
        </a:defRPr>
      </a:lvl2pPr>
      <a:lvl3pPr marL="466231" indent="-267114" algn="l" defTabSz="91304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ea typeface="ＭＳ Ｐゴシック" pitchFamily="34" charset="-128"/>
        </a:defRPr>
      </a:lvl3pPr>
      <a:lvl4pPr marL="626503" indent="-158650" algn="l" defTabSz="91304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ea typeface="ＭＳ Ｐゴシック" pitchFamily="34" charset="-128"/>
        </a:defRPr>
      </a:lvl4pPr>
      <a:lvl5pPr marL="764106" indent="-132747" algn="l" defTabSz="91304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ＭＳ Ｐゴシック" pitchFamily="34" charset="-128"/>
        </a:defRPr>
      </a:lvl5pPr>
      <a:lvl6pPr marL="764623" indent="-132747" algn="l" defTabSz="91304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623" indent="-132747" algn="l" defTabSz="91304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623" indent="-132747" algn="l" defTabSz="91304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623" indent="-132747" algn="l" defTabSz="91304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31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67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703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936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171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402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637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873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36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43" y="1474171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11/2015 15:11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4444" y="3137852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latin typeface="Arial"/>
              </a:rPr>
              <a:t>Printed 14/01/2015 23:26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29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altLang="pt-BR" smtClean="0"/>
              <a:t>Text</a:t>
            </a:r>
          </a:p>
        </p:txBody>
      </p:sp>
      <p:sp>
        <p:nvSpPr>
          <p:cNvPr id="1030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52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altLang="pt-BR" smtClean="0"/>
              <a:t>Click to edit Master title style</a:t>
            </a:r>
          </a:p>
        </p:txBody>
      </p:sp>
      <p:sp>
        <p:nvSpPr>
          <p:cNvPr id="1031" name="McK 1. On-page tracker" hidden="1"/>
          <p:cNvSpPr>
            <a:spLocks noChangeArrowheads="1"/>
          </p:cNvSpPr>
          <p:nvPr/>
        </p:nvSpPr>
        <p:spPr bwMode="auto">
          <a:xfrm>
            <a:off x="121495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139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altLang="pt-BR" sz="1400" smtClean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5" y="406961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033" name="McK Slide Elements" hidden="1"/>
          <p:cNvGrpSpPr>
            <a:grpSpLocks/>
          </p:cNvGrpSpPr>
          <p:nvPr/>
        </p:nvGrpSpPr>
        <p:grpSpPr bwMode="auto">
          <a:xfrm>
            <a:off x="121489" y="4734105"/>
            <a:ext cx="8722840" cy="308561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41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501650" indent="-50165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895350" eaLnBrk="0" hangingPunct="0"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altLang="pt-BR" sz="1000" smtClean="0">
                  <a:solidFill>
                    <a:srgbClr val="000000"/>
                  </a:solidFill>
                  <a:cs typeface="Arial" charset="0"/>
                </a:rPr>
                <a:t>FONTE: Fonte</a:t>
              </a:r>
            </a:p>
          </p:txBody>
        </p:sp>
      </p:grpSp>
      <p:grpSp>
        <p:nvGrpSpPr>
          <p:cNvPr id="2" name="ACET" hidden="1"/>
          <p:cNvGrpSpPr>
            <a:grpSpLocks/>
          </p:cNvGrpSpPr>
          <p:nvPr/>
        </p:nvGrpSpPr>
        <p:grpSpPr bwMode="auto">
          <a:xfrm>
            <a:off x="1482160" y="739819"/>
            <a:ext cx="4350892" cy="511435"/>
            <a:chOff x="915" y="609"/>
            <a:chExt cx="2686" cy="421"/>
          </a:xfrm>
        </p:grpSpPr>
        <p:cxnSp>
          <p:nvCxnSpPr>
            <p:cNvPr id="1038" name="AutoShape 249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139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altLang="pt-BR" b="1" smtClean="0">
                  <a:solidFill>
                    <a:srgbClr val="00474C"/>
                  </a:solidFill>
                  <a:cs typeface="Arial" charset="0"/>
                </a:rPr>
                <a:t>Title</a:t>
              </a:r>
            </a:p>
            <a:p>
              <a:pPr defTabSz="9139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altLang="pt-BR" smtClean="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sp>
        <p:nvSpPr>
          <p:cNvPr id="3" name="SlideLogoSeparator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590016" y="4900543"/>
            <a:ext cx="42116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altLang="pt-BR" sz="1200" smtClean="0">
                <a:solidFill>
                  <a:srgbClr val="000000"/>
                </a:solidFill>
                <a:cs typeface="Arial" charset="0"/>
              </a:rPr>
              <a:t>|</a:t>
            </a:r>
          </a:p>
        </p:txBody>
      </p:sp>
      <p:sp>
        <p:nvSpPr>
          <p:cNvPr id="1036" name="SlideLogoText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873898" y="4906202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altLang="pt-BR" sz="1000" smtClean="0">
                <a:solidFill>
                  <a:srgbClr val="000000"/>
                </a:solidFill>
                <a:cs typeface="Arial" charset="0"/>
              </a:rPr>
              <a:t>MATERIAL CONFIDENCIAL</a:t>
            </a:r>
          </a:p>
        </p:txBody>
      </p:sp>
      <p:pic>
        <p:nvPicPr>
          <p:cNvPr id="1037" name="Picture 9" descr="PPT Aqua_Bases-02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45" y="127555"/>
            <a:ext cx="479473" cy="351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24629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  <p:sldLayoutId id="2147484002" r:id="rId2"/>
    <p:sldLayoutId id="2147484003" r:id="rId3"/>
    <p:sldLayoutId id="2147484004" r:id="rId4"/>
    <p:sldLayoutId id="2147484005" r:id="rId5"/>
    <p:sldLayoutId id="2147484006" r:id="rId6"/>
    <p:sldLayoutId id="2147484007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041" rtl="0" eaLnBrk="0" fontAlgn="base" hangingPunct="0">
        <a:spcBef>
          <a:spcPct val="0"/>
        </a:spcBef>
        <a:spcAft>
          <a:spcPct val="0"/>
        </a:spcAft>
        <a:tabLst>
          <a:tab pos="27520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041" rtl="0" eaLnBrk="0" fontAlgn="base" hangingPunct="0">
        <a:spcBef>
          <a:spcPct val="0"/>
        </a:spcBef>
        <a:spcAft>
          <a:spcPct val="0"/>
        </a:spcAft>
        <a:tabLst>
          <a:tab pos="275208" algn="l"/>
        </a:tabLst>
        <a:defRPr sz="1900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913041" rtl="0" eaLnBrk="0" fontAlgn="base" hangingPunct="0">
        <a:spcBef>
          <a:spcPct val="0"/>
        </a:spcBef>
        <a:spcAft>
          <a:spcPct val="0"/>
        </a:spcAft>
        <a:tabLst>
          <a:tab pos="275208" algn="l"/>
        </a:tabLst>
        <a:defRPr sz="1900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913041" rtl="0" eaLnBrk="0" fontAlgn="base" hangingPunct="0">
        <a:spcBef>
          <a:spcPct val="0"/>
        </a:spcBef>
        <a:spcAft>
          <a:spcPct val="0"/>
        </a:spcAft>
        <a:tabLst>
          <a:tab pos="275208" algn="l"/>
        </a:tabLst>
        <a:defRPr sz="1900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913041" rtl="0" eaLnBrk="0" fontAlgn="base" hangingPunct="0">
        <a:spcBef>
          <a:spcPct val="0"/>
        </a:spcBef>
        <a:spcAft>
          <a:spcPct val="0"/>
        </a:spcAft>
        <a:tabLst>
          <a:tab pos="275208" algn="l"/>
        </a:tabLst>
        <a:defRPr sz="1900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66231" algn="l" defTabSz="91304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467" algn="l" defTabSz="91304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703" algn="l" defTabSz="91304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4936" algn="l" defTabSz="91304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913041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03" indent="-195884" algn="l" defTabSz="91304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ea typeface="ＭＳ Ｐゴシック" pitchFamily="34" charset="-128"/>
        </a:defRPr>
      </a:lvl2pPr>
      <a:lvl3pPr marL="466231" indent="-267114" algn="l" defTabSz="91304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ea typeface="ＭＳ Ｐゴシック" pitchFamily="34" charset="-128"/>
        </a:defRPr>
      </a:lvl3pPr>
      <a:lvl4pPr marL="626503" indent="-158650" algn="l" defTabSz="91304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ea typeface="ＭＳ Ｐゴシック" pitchFamily="34" charset="-128"/>
        </a:defRPr>
      </a:lvl4pPr>
      <a:lvl5pPr marL="764106" indent="-132747" algn="l" defTabSz="91304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ＭＳ Ｐゴシック" pitchFamily="34" charset="-128"/>
        </a:defRPr>
      </a:lvl5pPr>
      <a:lvl6pPr marL="764623" indent="-132747" algn="l" defTabSz="91304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623" indent="-132747" algn="l" defTabSz="91304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623" indent="-132747" algn="l" defTabSz="91304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623" indent="-132747" algn="l" defTabSz="91304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31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67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703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936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171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402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637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873" algn="l" defTabSz="9324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7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2"/>
          <p:cNvSpPr txBox="1">
            <a:spLocks/>
          </p:cNvSpPr>
          <p:nvPr/>
        </p:nvSpPr>
        <p:spPr>
          <a:xfrm>
            <a:off x="557955" y="761441"/>
            <a:ext cx="5316146" cy="21224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lvl1pPr algn="l" defTabSz="4571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baseline="0">
                <a:solidFill>
                  <a:srgbClr val="FFFFFF"/>
                </a:solidFill>
                <a:latin typeface="Arial"/>
                <a:ea typeface="+mj-ea"/>
                <a:cs typeface="Arial"/>
              </a:defRPr>
            </a:lvl1pPr>
          </a:lstStyle>
          <a:p>
            <a:pPr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pt-BR" sz="3200" b="1" dirty="0" smtClean="0">
                <a:solidFill>
                  <a:srgbClr val="FF6D00"/>
                </a:solidFill>
                <a:latin typeface="Simplon Oi Headline"/>
                <a:cs typeface="Simplon Oi Headline"/>
              </a:rPr>
              <a:t>NOVO ANTI-FRAUDE</a:t>
            </a:r>
            <a:endParaRPr lang="pt-BR" sz="3200" b="1" dirty="0" smtClean="0">
              <a:solidFill>
                <a:srgbClr val="FF6D00"/>
              </a:solidFill>
              <a:latin typeface="Simplon Oi Headline"/>
              <a:cs typeface="Simplon Oi Headline"/>
            </a:endParaRPr>
          </a:p>
          <a:p>
            <a:pPr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pt-BR" sz="3200" b="1" dirty="0">
              <a:solidFill>
                <a:srgbClr val="FF6D00"/>
              </a:solidFill>
              <a:latin typeface="Simplon Oi Headline"/>
              <a:cs typeface="Simplon Oi Headline"/>
            </a:endParaRPr>
          </a:p>
          <a:p>
            <a:pPr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pt-BR" sz="3200" b="1" dirty="0">
              <a:solidFill>
                <a:srgbClr val="FF6D00"/>
              </a:solidFill>
              <a:latin typeface="Simplon Oi Headline"/>
              <a:cs typeface="Simplon Oi Headline"/>
            </a:endParaRPr>
          </a:p>
          <a:p>
            <a:pPr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pt-BR" sz="2400" b="1" dirty="0" smtClean="0">
                <a:solidFill>
                  <a:srgbClr val="FF6D00"/>
                </a:solidFill>
                <a:latin typeface="Simplon Oi Headline"/>
                <a:cs typeface="Simplon Oi Headline"/>
              </a:rPr>
              <a:t>04/08/17</a:t>
            </a:r>
          </a:p>
        </p:txBody>
      </p:sp>
    </p:spTree>
    <p:extLst>
      <p:ext uri="{BB962C8B-B14F-4D97-AF65-F5344CB8AC3E}">
        <p14:creationId xmlns:p14="http://schemas.microsoft.com/office/powerpoint/2010/main" val="3006219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o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6446" y="-35716"/>
            <a:ext cx="8928992" cy="600570"/>
          </a:xfrm>
        </p:spPr>
        <p:txBody>
          <a:bodyPr/>
          <a:lstStyle/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1800" i="0" dirty="0" smtClean="0">
                <a:solidFill>
                  <a:srgbClr val="A02BFF"/>
                </a:solidFill>
                <a:latin typeface="Simplon Oi Headline"/>
                <a:cs typeface="Simplon Oi Headline"/>
              </a:rPr>
              <a:t>Pontos de alinhamento – ti / negócio</a:t>
            </a:r>
            <a:endParaRPr lang="pt-BR" sz="1800" i="0" dirty="0">
              <a:solidFill>
                <a:srgbClr val="A02BFF"/>
              </a:solidFill>
              <a:latin typeface="Simplon Oi Headline"/>
              <a:cs typeface="Simplon Oi Headline"/>
            </a:endParaRPr>
          </a:p>
        </p:txBody>
      </p:sp>
      <p:sp>
        <p:nvSpPr>
          <p:cNvPr id="12" name="Retângulo de cantos arredondados 11"/>
          <p:cNvSpPr/>
          <p:nvPr/>
        </p:nvSpPr>
        <p:spPr>
          <a:xfrm>
            <a:off x="74242" y="760892"/>
            <a:ext cx="8963432" cy="3757946"/>
          </a:xfrm>
          <a:prstGeom prst="roundRect">
            <a:avLst>
              <a:gd name="adj" fmla="val 3147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r>
              <a:rPr lang="pt-BR" sz="14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ontos de atenção para alinhamento do Projeto</a:t>
            </a:r>
          </a:p>
          <a:p>
            <a:pPr marL="342900" indent="-342900">
              <a:spcBef>
                <a:spcPts val="800"/>
              </a:spcBef>
              <a:buFont typeface="+mj-lt"/>
              <a:buAutoNum type="arabicPeriod"/>
            </a:pPr>
            <a:r>
              <a:rPr lang="pt-BR" sz="14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Utilizar abordagem de entrega em Ondas (</a:t>
            </a:r>
            <a:r>
              <a:rPr lang="pt-BR" sz="14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pré-definição</a:t>
            </a:r>
            <a:r>
              <a:rPr lang="pt-BR" sz="14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de 23 ondas pelo usuário) priorizando maiores vulnerabilidades</a:t>
            </a:r>
          </a:p>
          <a:p>
            <a:pPr marL="342900" indent="-342900">
              <a:spcBef>
                <a:spcPts val="800"/>
              </a:spcBef>
              <a:buFont typeface="+mj-lt"/>
              <a:buAutoNum type="arabicPeriod"/>
            </a:pPr>
            <a:r>
              <a:rPr lang="pt-BR" sz="14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idade de alocação de times dedicados (GPs TI + GP Fornecedor + GP Negócio + PMO + RN + GT + </a:t>
            </a:r>
            <a:r>
              <a:rPr lang="pt-BR" sz="14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LTs</a:t>
            </a:r>
            <a:r>
              <a:rPr lang="pt-BR" sz="14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+ </a:t>
            </a:r>
            <a:r>
              <a:rPr lang="pt-BR" sz="14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RTs</a:t>
            </a:r>
            <a:r>
              <a:rPr lang="pt-BR" sz="14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+ Usuários + Técnicos Fornecedor) x recursos disponíveis</a:t>
            </a:r>
          </a:p>
          <a:p>
            <a:pPr marL="342900" indent="-342900">
              <a:spcBef>
                <a:spcPts val="800"/>
              </a:spcBef>
              <a:buFont typeface="+mj-lt"/>
              <a:buAutoNum type="arabicPeriod"/>
            </a:pPr>
            <a:r>
              <a:rPr lang="pt-BR" sz="14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Infra-estrutura dedicada para condução dos trabalhos em localidades distintas (RJ/MG/Portugal)</a:t>
            </a:r>
          </a:p>
          <a:p>
            <a:pPr marL="342900" indent="-342900">
              <a:spcBef>
                <a:spcPts val="800"/>
              </a:spcBef>
              <a:buFont typeface="+mj-lt"/>
              <a:buAutoNum type="arabicPeriod"/>
            </a:pPr>
            <a:r>
              <a:rPr lang="pt-BR" sz="14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idade de trabalho de </a:t>
            </a:r>
            <a:r>
              <a:rPr lang="pt-BR" sz="1400" dirty="0" err="1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scoping</a:t>
            </a:r>
            <a:r>
              <a:rPr lang="pt-BR" sz="14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 e modelagem de processos nas áreas de negócio (Usuário) - consultoria</a:t>
            </a:r>
          </a:p>
          <a:p>
            <a:pPr marL="342900" indent="-342900">
              <a:spcBef>
                <a:spcPts val="800"/>
              </a:spcBef>
              <a:buFont typeface="+mj-lt"/>
              <a:buAutoNum type="arabicPeriod"/>
            </a:pPr>
            <a:r>
              <a:rPr lang="pt-BR" sz="14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Necessidade de levantamento de regras atuais (Engenharia Reversa)</a:t>
            </a:r>
          </a:p>
          <a:p>
            <a:pPr marL="342900" indent="-342900">
              <a:spcBef>
                <a:spcPts val="800"/>
              </a:spcBef>
              <a:buFont typeface="+mj-lt"/>
              <a:buAutoNum type="arabicPeriod"/>
            </a:pPr>
            <a:endParaRPr lang="pt-BR" sz="1400" dirty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>
              <a:spcBef>
                <a:spcPts val="800"/>
              </a:spcBef>
            </a:pPr>
            <a:r>
              <a:rPr lang="pt-BR" sz="1400" dirty="0" smtClean="0">
                <a:solidFill>
                  <a:schemeClr val="accent1">
                    <a:lumMod val="75000"/>
                  </a:schemeClr>
                </a:solidFill>
                <a:latin typeface="Simplon BP Medium" pitchFamily="2" charset="0"/>
              </a:rPr>
              <a:t>Reuniões de trabalho nas próximas duas semanas para posterior alinhamento executivo.</a:t>
            </a:r>
            <a:endParaRPr lang="pt-BR" sz="1400" dirty="0" smtClean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  <a:p>
            <a:pPr>
              <a:spcBef>
                <a:spcPts val="800"/>
              </a:spcBef>
            </a:pPr>
            <a:endParaRPr lang="pt-BR" sz="1400" b="1" dirty="0" smtClean="0">
              <a:solidFill>
                <a:schemeClr val="accent1">
                  <a:lumMod val="75000"/>
                </a:schemeClr>
              </a:solidFill>
              <a:latin typeface="Simplon BP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9622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5&quot;&gt;&lt;elem m_fUsage=&quot;3.38099006119464950000E+000&quot;&gt;&lt;m_ppcolschidx val=&quot;0&quot;/&gt;&lt;m_rgb r=&quot;55&quot; g=&quot;b6&quot; b=&quot;34&quot;/&gt;&lt;/elem&gt;&lt;elem m_fUsage=&quot;2.73163592699666590000E+000&quot;&gt;&lt;m_ppcolschidx val=&quot;0&quot;/&gt;&lt;m_rgb r=&quot;ff&quot; g=&quot;0&quot; b=&quot;0&quot;/&gt;&lt;/elem&gt;&lt;elem m_fUsage=&quot;1.62104361497518460000E+000&quot;&gt;&lt;m_ppcolschidx val=&quot;0&quot;/&gt;&lt;m_rgb r=&quot;f9&quot; g=&quot;fe&quot; b=&quot;25&quot;/&gt;&lt;/elem&gt;&lt;elem m_fUsage=&quot;6.35524386204478040000E-001&quot;&gt;&lt;m_ppcolschidx val=&quot;0&quot;/&gt;&lt;m_rgb r=&quot;0&quot; g=&quot;ce&quot; b=&quot;ff&quot;/&gt;&lt;/elem&gt;&lt;elem m_fUsage=&quot;5.36616119313900080000E-001&quot;&gt;&lt;m_ppcolschidx val=&quot;0&quot;/&gt;&lt;m_rgb r=&quot;97&quot; g=&quot;ce&quot; b=&quot;d2&quot;/&gt;&lt;/elem&gt;&lt;/m_vecMRU&gt;&lt;/m_mruColor&gt;&lt;m_mapectfillschemeMRU&gt;&lt;key val=&quot;0&quot;/&gt;&lt;elem&gt;&lt;m_nPartnerID val=&quot;530&quot;/&gt;&lt;m_nIndex val=&quot;0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19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3MAOSiL0.VyJhu8lMB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BBR0598.TP.130513.PPT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BBR0598.TP.130513.PPT</Template>
  <TotalTime>24764</TotalTime>
  <Words>121</Words>
  <Application>Microsoft Office PowerPoint</Application>
  <PresentationFormat>Apresentação na tela (16:9)</PresentationFormat>
  <Paragraphs>14</Paragraphs>
  <Slides>2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5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</vt:i4>
      </vt:variant>
    </vt:vector>
  </HeadingPairs>
  <TitlesOfParts>
    <vt:vector size="16" baseType="lpstr">
      <vt:lpstr>ＭＳ Ｐゴシック</vt:lpstr>
      <vt:lpstr>Arial</vt:lpstr>
      <vt:lpstr>Calibri</vt:lpstr>
      <vt:lpstr>Georgia</vt:lpstr>
      <vt:lpstr>Museo Sans 300</vt:lpstr>
      <vt:lpstr>Simplon BP Medium</vt:lpstr>
      <vt:lpstr>Simplon BP Regular</vt:lpstr>
      <vt:lpstr>Simplon Oi Headline</vt:lpstr>
      <vt:lpstr>FBBR0598.TP.130513.PPT</vt:lpstr>
      <vt:lpstr>Blank</vt:lpstr>
      <vt:lpstr>1_Blank</vt:lpstr>
      <vt:lpstr>2_Blank</vt:lpstr>
      <vt:lpstr>3_Blank</vt:lpstr>
      <vt:lpstr>think-cell Slide</vt:lpstr>
      <vt:lpstr>Apresentação do PowerPoint</vt:lpstr>
      <vt:lpstr>Pontos de alinhamento – ti / negócio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ra o título do projeto em até duas linhas</dc:title>
  <dc:creator>FutureBrand</dc:creator>
  <cp:lastModifiedBy>Marcio Caroso</cp:lastModifiedBy>
  <cp:revision>913</cp:revision>
  <cp:lastPrinted>2016-07-26T14:25:46Z</cp:lastPrinted>
  <dcterms:created xsi:type="dcterms:W3CDTF">2013-05-14T05:19:21Z</dcterms:created>
  <dcterms:modified xsi:type="dcterms:W3CDTF">2017-08-04T05:40:52Z</dcterms:modified>
</cp:coreProperties>
</file>